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EEF07-7861-62C9-D1A4-49E54B19BE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21632A8-D742-9A32-7C47-975B4B337F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1632A8-D742-9A32-7C47-975B4B337F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F8F986-946E-5B63-AEC6-EFC8E0BB5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B305078-BCF9-77B5-E7AF-AA1C7DCD209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3129;p46">
            <a:extLst>
              <a:ext uri="{FF2B5EF4-FFF2-40B4-BE49-F238E27FC236}">
                <a16:creationId xmlns:a16="http://schemas.microsoft.com/office/drawing/2014/main" id="{F9BA584C-8AAE-3A2F-FFB5-089CBE97F17F}"/>
              </a:ext>
            </a:extLst>
          </p:cNvPr>
          <p:cNvSpPr/>
          <p:nvPr/>
        </p:nvSpPr>
        <p:spPr>
          <a:xfrm>
            <a:off x="3146981" y="1583526"/>
            <a:ext cx="4226613" cy="21504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29" name="Google Shape;3132;p46">
            <a:extLst>
              <a:ext uri="{FF2B5EF4-FFF2-40B4-BE49-F238E27FC236}">
                <a16:creationId xmlns:a16="http://schemas.microsoft.com/office/drawing/2014/main" id="{491BF69F-FF80-8392-A1F0-5EA2CD02EBDE}"/>
              </a:ext>
            </a:extLst>
          </p:cNvPr>
          <p:cNvSpPr/>
          <p:nvPr/>
        </p:nvSpPr>
        <p:spPr>
          <a:xfrm>
            <a:off x="7357255" y="1583526"/>
            <a:ext cx="4226613" cy="21504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0" name="Google Shape;3128;p46">
            <a:extLst>
              <a:ext uri="{FF2B5EF4-FFF2-40B4-BE49-F238E27FC236}">
                <a16:creationId xmlns:a16="http://schemas.microsoft.com/office/drawing/2014/main" id="{C42E3606-90D3-E7B0-E841-EDA37132EDAD}"/>
              </a:ext>
            </a:extLst>
          </p:cNvPr>
          <p:cNvSpPr/>
          <p:nvPr/>
        </p:nvSpPr>
        <p:spPr>
          <a:xfrm>
            <a:off x="630475" y="1583525"/>
            <a:ext cx="2516507" cy="39757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1" name="Google Shape;3130;p46">
            <a:extLst>
              <a:ext uri="{FF2B5EF4-FFF2-40B4-BE49-F238E27FC236}">
                <a16:creationId xmlns:a16="http://schemas.microsoft.com/office/drawing/2014/main" id="{F86DFDE1-C278-6D17-7A75-3A3ADE7D80FC}"/>
              </a:ext>
            </a:extLst>
          </p:cNvPr>
          <p:cNvSpPr/>
          <p:nvPr/>
        </p:nvSpPr>
        <p:spPr>
          <a:xfrm>
            <a:off x="3146981" y="3566373"/>
            <a:ext cx="4226613" cy="199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2" name="Google Shape;3133;p46">
            <a:extLst>
              <a:ext uri="{FF2B5EF4-FFF2-40B4-BE49-F238E27FC236}">
                <a16:creationId xmlns:a16="http://schemas.microsoft.com/office/drawing/2014/main" id="{068BAE1F-06C0-CC40-326C-E8DC53622C42}"/>
              </a:ext>
            </a:extLst>
          </p:cNvPr>
          <p:cNvSpPr/>
          <p:nvPr/>
        </p:nvSpPr>
        <p:spPr>
          <a:xfrm>
            <a:off x="7357255" y="3566373"/>
            <a:ext cx="4226613" cy="1992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3" name="Shape1_20220427_134847">
            <a:extLst>
              <a:ext uri="{FF2B5EF4-FFF2-40B4-BE49-F238E27FC236}">
                <a16:creationId xmlns:a16="http://schemas.microsoft.com/office/drawing/2014/main" id="{A0F9C7D3-254D-F370-121F-2EE3EBC6D75D}"/>
              </a:ext>
            </a:extLst>
          </p:cNvPr>
          <p:cNvSpPr txBox="1"/>
          <p:nvPr/>
        </p:nvSpPr>
        <p:spPr>
          <a:xfrm>
            <a:off x="858822" y="2856585"/>
            <a:ext cx="205981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32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4" name="Shape2_20220427_134847">
            <a:extLst>
              <a:ext uri="{FF2B5EF4-FFF2-40B4-BE49-F238E27FC236}">
                <a16:creationId xmlns:a16="http://schemas.microsoft.com/office/drawing/2014/main" id="{42A561C7-C6AC-AAC3-AB1E-F748DDA6A755}"/>
              </a:ext>
            </a:extLst>
          </p:cNvPr>
          <p:cNvSpPr txBox="1"/>
          <p:nvPr/>
        </p:nvSpPr>
        <p:spPr>
          <a:xfrm>
            <a:off x="861556" y="3131332"/>
            <a:ext cx="205434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5" name="Shape3_20220427_134847">
            <a:extLst>
              <a:ext uri="{FF2B5EF4-FFF2-40B4-BE49-F238E27FC236}">
                <a16:creationId xmlns:a16="http://schemas.microsoft.com/office/drawing/2014/main" id="{A47830DE-44AB-A88F-6AEB-1A44CBA6B894}"/>
              </a:ext>
            </a:extLst>
          </p:cNvPr>
          <p:cNvSpPr txBox="1"/>
          <p:nvPr/>
        </p:nvSpPr>
        <p:spPr>
          <a:xfrm>
            <a:off x="3317398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6" name="Shape4_20220427_134847">
            <a:extLst>
              <a:ext uri="{FF2B5EF4-FFF2-40B4-BE49-F238E27FC236}">
                <a16:creationId xmlns:a16="http://schemas.microsoft.com/office/drawing/2014/main" id="{0D628FAB-68B3-5CDF-DD64-83BBD41B6C73}"/>
              </a:ext>
            </a:extLst>
          </p:cNvPr>
          <p:cNvSpPr txBox="1"/>
          <p:nvPr/>
        </p:nvSpPr>
        <p:spPr>
          <a:xfrm>
            <a:off x="3322557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7" name="Shape5_20220427_134847">
            <a:extLst>
              <a:ext uri="{FF2B5EF4-FFF2-40B4-BE49-F238E27FC236}">
                <a16:creationId xmlns:a16="http://schemas.microsoft.com/office/drawing/2014/main" id="{08A7989A-1E4A-A6B6-CDAC-4B4A421D2B19}"/>
              </a:ext>
            </a:extLst>
          </p:cNvPr>
          <p:cNvSpPr txBox="1"/>
          <p:nvPr/>
        </p:nvSpPr>
        <p:spPr>
          <a:xfrm>
            <a:off x="3317398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8" name="Shape6_20220427_134847">
            <a:extLst>
              <a:ext uri="{FF2B5EF4-FFF2-40B4-BE49-F238E27FC236}">
                <a16:creationId xmlns:a16="http://schemas.microsoft.com/office/drawing/2014/main" id="{06974D22-F56C-8A9B-E1A3-69EF5DBBC0D4}"/>
              </a:ext>
            </a:extLst>
          </p:cNvPr>
          <p:cNvSpPr txBox="1"/>
          <p:nvPr/>
        </p:nvSpPr>
        <p:spPr>
          <a:xfrm>
            <a:off x="3322557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9" name="Google Shape;3143;p46">
            <a:extLst>
              <a:ext uri="{FF2B5EF4-FFF2-40B4-BE49-F238E27FC236}">
                <a16:creationId xmlns:a16="http://schemas.microsoft.com/office/drawing/2014/main" id="{69443810-6472-26AE-819A-FBF3590F6DB4}"/>
              </a:ext>
            </a:extLst>
          </p:cNvPr>
          <p:cNvSpPr txBox="1"/>
          <p:nvPr/>
        </p:nvSpPr>
        <p:spPr>
          <a:xfrm>
            <a:off x="7527670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Shape3_20210622_174643">
            <a:extLst>
              <a:ext uri="{FF2B5EF4-FFF2-40B4-BE49-F238E27FC236}">
                <a16:creationId xmlns:a16="http://schemas.microsoft.com/office/drawing/2014/main" id="{625F5217-A8B1-FC7E-E35E-A4CB8B8E14EE}"/>
              </a:ext>
            </a:extLst>
          </p:cNvPr>
          <p:cNvSpPr txBox="1"/>
          <p:nvPr/>
        </p:nvSpPr>
        <p:spPr>
          <a:xfrm>
            <a:off x="7532830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1" name="Shape0_20220427_134847">
            <a:extLst>
              <a:ext uri="{FF2B5EF4-FFF2-40B4-BE49-F238E27FC236}">
                <a16:creationId xmlns:a16="http://schemas.microsoft.com/office/drawing/2014/main" id="{BEF39793-F7A9-07F0-B655-EB001088BBA3}"/>
              </a:ext>
            </a:extLst>
          </p:cNvPr>
          <p:cNvSpPr txBox="1"/>
          <p:nvPr/>
        </p:nvSpPr>
        <p:spPr>
          <a:xfrm>
            <a:off x="7527670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2" name="Shape7_20220427_134847">
            <a:extLst>
              <a:ext uri="{FF2B5EF4-FFF2-40B4-BE49-F238E27FC236}">
                <a16:creationId xmlns:a16="http://schemas.microsoft.com/office/drawing/2014/main" id="{796E50B4-D229-DF64-AC85-1B5398AB5A12}"/>
              </a:ext>
            </a:extLst>
          </p:cNvPr>
          <p:cNvSpPr txBox="1"/>
          <p:nvPr/>
        </p:nvSpPr>
        <p:spPr>
          <a:xfrm>
            <a:off x="7532830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3" name="Freeform 1532">
            <a:extLst>
              <a:ext uri="{FF2B5EF4-FFF2-40B4-BE49-F238E27FC236}">
                <a16:creationId xmlns:a16="http://schemas.microsoft.com/office/drawing/2014/main" id="{7F6D0AAF-FE89-F366-36BF-3CD49CAC6D81}"/>
              </a:ext>
            </a:extLst>
          </p:cNvPr>
          <p:cNvSpPr>
            <a:spLocks noEditPoints="1"/>
          </p:cNvSpPr>
          <p:nvPr/>
        </p:nvSpPr>
        <p:spPr bwMode="auto">
          <a:xfrm>
            <a:off x="1299284" y="2190752"/>
            <a:ext cx="136822" cy="134544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4" name="Freeform 1533">
            <a:extLst>
              <a:ext uri="{FF2B5EF4-FFF2-40B4-BE49-F238E27FC236}">
                <a16:creationId xmlns:a16="http://schemas.microsoft.com/office/drawing/2014/main" id="{A2E1DDF9-F44D-EAC5-972B-C67730CD2AE1}"/>
              </a:ext>
            </a:extLst>
          </p:cNvPr>
          <p:cNvSpPr>
            <a:spLocks/>
          </p:cNvSpPr>
          <p:nvPr/>
        </p:nvSpPr>
        <p:spPr bwMode="auto">
          <a:xfrm>
            <a:off x="921842" y="1817281"/>
            <a:ext cx="153336" cy="150780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5" name="Freeform 1534">
            <a:extLst>
              <a:ext uri="{FF2B5EF4-FFF2-40B4-BE49-F238E27FC236}">
                <a16:creationId xmlns:a16="http://schemas.microsoft.com/office/drawing/2014/main" id="{F95DD9AD-5354-9EAA-CC04-360F570BD954}"/>
              </a:ext>
            </a:extLst>
          </p:cNvPr>
          <p:cNvSpPr>
            <a:spLocks/>
          </p:cNvSpPr>
          <p:nvPr/>
        </p:nvSpPr>
        <p:spPr bwMode="auto">
          <a:xfrm>
            <a:off x="917126" y="1898470"/>
            <a:ext cx="172208" cy="13222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6" name="Freeform 1535">
            <a:extLst>
              <a:ext uri="{FF2B5EF4-FFF2-40B4-BE49-F238E27FC236}">
                <a16:creationId xmlns:a16="http://schemas.microsoft.com/office/drawing/2014/main" id="{B2A348CF-83B7-6980-F530-DE986F89E2F8}"/>
              </a:ext>
            </a:extLst>
          </p:cNvPr>
          <p:cNvSpPr>
            <a:spLocks/>
          </p:cNvSpPr>
          <p:nvPr/>
        </p:nvSpPr>
        <p:spPr bwMode="auto">
          <a:xfrm>
            <a:off x="1004408" y="1812641"/>
            <a:ext cx="141540" cy="169339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7" name="Freeform 1536">
            <a:extLst>
              <a:ext uri="{FF2B5EF4-FFF2-40B4-BE49-F238E27FC236}">
                <a16:creationId xmlns:a16="http://schemas.microsoft.com/office/drawing/2014/main" id="{1B787059-9E59-78C4-5ABB-0E7DBA0C8778}"/>
              </a:ext>
            </a:extLst>
          </p:cNvPr>
          <p:cNvSpPr>
            <a:spLocks/>
          </p:cNvSpPr>
          <p:nvPr/>
        </p:nvSpPr>
        <p:spPr bwMode="auto">
          <a:xfrm>
            <a:off x="1072818" y="2002858"/>
            <a:ext cx="87284" cy="81190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8" name="Freeform 1537">
            <a:extLst>
              <a:ext uri="{FF2B5EF4-FFF2-40B4-BE49-F238E27FC236}">
                <a16:creationId xmlns:a16="http://schemas.microsoft.com/office/drawing/2014/main" id="{3DC887F3-3D2D-107F-F562-1A53A7DA072F}"/>
              </a:ext>
            </a:extLst>
          </p:cNvPr>
          <p:cNvSpPr>
            <a:spLocks/>
          </p:cNvSpPr>
          <p:nvPr/>
        </p:nvSpPr>
        <p:spPr bwMode="auto">
          <a:xfrm>
            <a:off x="1202567" y="2130441"/>
            <a:ext cx="89642" cy="85830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9" name="Freeform 1538">
            <a:extLst>
              <a:ext uri="{FF2B5EF4-FFF2-40B4-BE49-F238E27FC236}">
                <a16:creationId xmlns:a16="http://schemas.microsoft.com/office/drawing/2014/main" id="{FBA08011-EF7D-71EF-0F4C-F9955091BEEE}"/>
              </a:ext>
            </a:extLst>
          </p:cNvPr>
          <p:cNvSpPr>
            <a:spLocks/>
          </p:cNvSpPr>
          <p:nvPr/>
        </p:nvSpPr>
        <p:spPr bwMode="auto">
          <a:xfrm>
            <a:off x="1108204" y="1968059"/>
            <a:ext cx="219389" cy="215734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0" name="Freeform 1539">
            <a:extLst>
              <a:ext uri="{FF2B5EF4-FFF2-40B4-BE49-F238E27FC236}">
                <a16:creationId xmlns:a16="http://schemas.microsoft.com/office/drawing/2014/main" id="{222A085A-651A-67C1-90EF-6CA7DB0B6028}"/>
              </a:ext>
            </a:extLst>
          </p:cNvPr>
          <p:cNvSpPr>
            <a:spLocks/>
          </p:cNvSpPr>
          <p:nvPr/>
        </p:nvSpPr>
        <p:spPr bwMode="auto">
          <a:xfrm>
            <a:off x="1252104" y="2144360"/>
            <a:ext cx="221748" cy="220371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1" name="Freeform 1540">
            <a:extLst>
              <a:ext uri="{FF2B5EF4-FFF2-40B4-BE49-F238E27FC236}">
                <a16:creationId xmlns:a16="http://schemas.microsoft.com/office/drawing/2014/main" id="{77EFF592-0B48-F443-92D0-4B7B9EAD42B7}"/>
              </a:ext>
            </a:extLst>
          </p:cNvPr>
          <p:cNvSpPr>
            <a:spLocks/>
          </p:cNvSpPr>
          <p:nvPr/>
        </p:nvSpPr>
        <p:spPr bwMode="auto">
          <a:xfrm>
            <a:off x="1178975" y="1835839"/>
            <a:ext cx="276004" cy="276046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2" name="Freeform 1541">
            <a:extLst>
              <a:ext uri="{FF2B5EF4-FFF2-40B4-BE49-F238E27FC236}">
                <a16:creationId xmlns:a16="http://schemas.microsoft.com/office/drawing/2014/main" id="{7ECAD614-992B-A56D-BD46-DDCAD8AAF3C0}"/>
              </a:ext>
            </a:extLst>
          </p:cNvPr>
          <p:cNvSpPr>
            <a:spLocks noEditPoints="1"/>
          </p:cNvSpPr>
          <p:nvPr/>
        </p:nvSpPr>
        <p:spPr bwMode="auto">
          <a:xfrm>
            <a:off x="924201" y="2097966"/>
            <a:ext cx="268926" cy="257486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3" name="Freeform 1542">
            <a:extLst>
              <a:ext uri="{FF2B5EF4-FFF2-40B4-BE49-F238E27FC236}">
                <a16:creationId xmlns:a16="http://schemas.microsoft.com/office/drawing/2014/main" id="{CD738547-F804-772C-D2DA-4DF0349F310E}"/>
              </a:ext>
            </a:extLst>
          </p:cNvPr>
          <p:cNvSpPr>
            <a:spLocks noEditPoints="1"/>
          </p:cNvSpPr>
          <p:nvPr/>
        </p:nvSpPr>
        <p:spPr bwMode="auto">
          <a:xfrm>
            <a:off x="1115280" y="2067808"/>
            <a:ext cx="108516" cy="102068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4" name="Freeform 1543">
            <a:extLst>
              <a:ext uri="{FF2B5EF4-FFF2-40B4-BE49-F238E27FC236}">
                <a16:creationId xmlns:a16="http://schemas.microsoft.com/office/drawing/2014/main" id="{84369332-D4E2-7C08-DEA2-CCE645F9F7D6}"/>
              </a:ext>
            </a:extLst>
          </p:cNvPr>
          <p:cNvSpPr>
            <a:spLocks/>
          </p:cNvSpPr>
          <p:nvPr/>
        </p:nvSpPr>
        <p:spPr bwMode="auto">
          <a:xfrm>
            <a:off x="1410157" y="1835838"/>
            <a:ext cx="47179" cy="46393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D3D6147C-12F0-898A-154C-2ED73E0AF265}"/>
              </a:ext>
            </a:extLst>
          </p:cNvPr>
          <p:cNvSpPr>
            <a:spLocks noEditPoints="1"/>
          </p:cNvSpPr>
          <p:nvPr/>
        </p:nvSpPr>
        <p:spPr bwMode="auto">
          <a:xfrm>
            <a:off x="6834947" y="4005950"/>
            <a:ext cx="236266" cy="236269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2364B643-5FCB-5CC3-E91F-4FFA088917A2}"/>
              </a:ext>
            </a:extLst>
          </p:cNvPr>
          <p:cNvSpPr>
            <a:spLocks noEditPoints="1"/>
          </p:cNvSpPr>
          <p:nvPr/>
        </p:nvSpPr>
        <p:spPr bwMode="auto">
          <a:xfrm>
            <a:off x="6729941" y="3900943"/>
            <a:ext cx="450025" cy="44627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8" name="Freeform 933">
            <a:extLst>
              <a:ext uri="{FF2B5EF4-FFF2-40B4-BE49-F238E27FC236}">
                <a16:creationId xmlns:a16="http://schemas.microsoft.com/office/drawing/2014/main" id="{E83B779A-234F-058F-55DF-2BBF9B9F5DCB}"/>
              </a:ext>
            </a:extLst>
          </p:cNvPr>
          <p:cNvSpPr>
            <a:spLocks/>
          </p:cNvSpPr>
          <p:nvPr/>
        </p:nvSpPr>
        <p:spPr bwMode="auto">
          <a:xfrm>
            <a:off x="10996231" y="4207482"/>
            <a:ext cx="18534" cy="120466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9" name="Freeform 934">
            <a:extLst>
              <a:ext uri="{FF2B5EF4-FFF2-40B4-BE49-F238E27FC236}">
                <a16:creationId xmlns:a16="http://schemas.microsoft.com/office/drawing/2014/main" id="{69356D9F-B5A0-FB24-9B3B-1340D705C83A}"/>
              </a:ext>
            </a:extLst>
          </p:cNvPr>
          <p:cNvSpPr>
            <a:spLocks/>
          </p:cNvSpPr>
          <p:nvPr/>
        </p:nvSpPr>
        <p:spPr bwMode="auto">
          <a:xfrm>
            <a:off x="11240870" y="4207482"/>
            <a:ext cx="16681" cy="120466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0" name="Freeform 935">
            <a:extLst>
              <a:ext uri="{FF2B5EF4-FFF2-40B4-BE49-F238E27FC236}">
                <a16:creationId xmlns:a16="http://schemas.microsoft.com/office/drawing/2014/main" id="{4C48230B-B6BF-8ABC-03C0-9B62DFC9908D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4116670"/>
            <a:ext cx="411438" cy="211277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1" name="Freeform 936">
            <a:extLst>
              <a:ext uri="{FF2B5EF4-FFF2-40B4-BE49-F238E27FC236}">
                <a16:creationId xmlns:a16="http://schemas.microsoft.com/office/drawing/2014/main" id="{B5E8A211-0905-996C-F1C1-D09D6B979480}"/>
              </a:ext>
            </a:extLst>
          </p:cNvPr>
          <p:cNvSpPr>
            <a:spLocks noEditPoints="1"/>
          </p:cNvSpPr>
          <p:nvPr/>
        </p:nvSpPr>
        <p:spPr bwMode="auto">
          <a:xfrm>
            <a:off x="11087045" y="4085164"/>
            <a:ext cx="81544" cy="90813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2" name="Freeform 937">
            <a:extLst>
              <a:ext uri="{FF2B5EF4-FFF2-40B4-BE49-F238E27FC236}">
                <a16:creationId xmlns:a16="http://schemas.microsoft.com/office/drawing/2014/main" id="{2DF82CD2-826E-ACAD-6E81-F800FD2EE6B2}"/>
              </a:ext>
            </a:extLst>
          </p:cNvPr>
          <p:cNvSpPr>
            <a:spLocks noEditPoints="1"/>
          </p:cNvSpPr>
          <p:nvPr/>
        </p:nvSpPr>
        <p:spPr bwMode="auto">
          <a:xfrm>
            <a:off x="11037005" y="3920220"/>
            <a:ext cx="179772" cy="179772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3" name="Freeform 156">
            <a:extLst>
              <a:ext uri="{FF2B5EF4-FFF2-40B4-BE49-F238E27FC236}">
                <a16:creationId xmlns:a16="http://schemas.microsoft.com/office/drawing/2014/main" id="{FA270829-DA0E-CDCD-CAF0-56BC373C7B46}"/>
              </a:ext>
            </a:extLst>
          </p:cNvPr>
          <p:cNvSpPr>
            <a:spLocks noEditPoints="1"/>
          </p:cNvSpPr>
          <p:nvPr/>
        </p:nvSpPr>
        <p:spPr bwMode="auto">
          <a:xfrm>
            <a:off x="6844828" y="1896023"/>
            <a:ext cx="220243" cy="16380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4" name="Freeform 157">
            <a:extLst>
              <a:ext uri="{FF2B5EF4-FFF2-40B4-BE49-F238E27FC236}">
                <a16:creationId xmlns:a16="http://schemas.microsoft.com/office/drawing/2014/main" id="{5E5D14BB-7E67-7F1C-99ED-F7B744CD4D56}"/>
              </a:ext>
            </a:extLst>
          </p:cNvPr>
          <p:cNvSpPr>
            <a:spLocks noEditPoints="1"/>
          </p:cNvSpPr>
          <p:nvPr/>
        </p:nvSpPr>
        <p:spPr bwMode="auto">
          <a:xfrm>
            <a:off x="6734708" y="1750418"/>
            <a:ext cx="440483" cy="436817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5" name="Freeform 1030">
            <a:extLst>
              <a:ext uri="{FF2B5EF4-FFF2-40B4-BE49-F238E27FC236}">
                <a16:creationId xmlns:a16="http://schemas.microsoft.com/office/drawing/2014/main" id="{BD680BC0-F09F-21F2-527B-D85A4991E144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1750417"/>
            <a:ext cx="411438" cy="411437"/>
          </a:xfrm>
          <a:custGeom>
            <a:avLst/>
            <a:gdLst>
              <a:gd name="T0" fmla="*/ 165 w 331"/>
              <a:gd name="T1" fmla="*/ 331 h 331"/>
              <a:gd name="T2" fmla="*/ 0 w 331"/>
              <a:gd name="T3" fmla="*/ 165 h 331"/>
              <a:gd name="T4" fmla="*/ 165 w 331"/>
              <a:gd name="T5" fmla="*/ 0 h 331"/>
              <a:gd name="T6" fmla="*/ 331 w 331"/>
              <a:gd name="T7" fmla="*/ 165 h 331"/>
              <a:gd name="T8" fmla="*/ 165 w 331"/>
              <a:gd name="T9" fmla="*/ 331 h 331"/>
              <a:gd name="T10" fmla="*/ 165 w 331"/>
              <a:gd name="T11" fmla="*/ 11 h 331"/>
              <a:gd name="T12" fmla="*/ 11 w 331"/>
              <a:gd name="T13" fmla="*/ 165 h 331"/>
              <a:gd name="T14" fmla="*/ 165 w 331"/>
              <a:gd name="T15" fmla="*/ 320 h 331"/>
              <a:gd name="T16" fmla="*/ 320 w 331"/>
              <a:gd name="T17" fmla="*/ 165 h 331"/>
              <a:gd name="T18" fmla="*/ 165 w 331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1" h="331">
                <a:moveTo>
                  <a:pt x="165" y="331"/>
                </a:moveTo>
                <a:cubicBezTo>
                  <a:pt x="74" y="331"/>
                  <a:pt x="0" y="257"/>
                  <a:pt x="0" y="165"/>
                </a:cubicBezTo>
                <a:cubicBezTo>
                  <a:pt x="0" y="74"/>
                  <a:pt x="74" y="0"/>
                  <a:pt x="165" y="0"/>
                </a:cubicBezTo>
                <a:cubicBezTo>
                  <a:pt x="257" y="0"/>
                  <a:pt x="331" y="74"/>
                  <a:pt x="331" y="165"/>
                </a:cubicBezTo>
                <a:cubicBezTo>
                  <a:pt x="331" y="257"/>
                  <a:pt x="257" y="331"/>
                  <a:pt x="165" y="331"/>
                </a:cubicBezTo>
                <a:close/>
                <a:moveTo>
                  <a:pt x="165" y="11"/>
                </a:moveTo>
                <a:cubicBezTo>
                  <a:pt x="80" y="11"/>
                  <a:pt x="11" y="80"/>
                  <a:pt x="11" y="165"/>
                </a:cubicBezTo>
                <a:cubicBezTo>
                  <a:pt x="11" y="250"/>
                  <a:pt x="80" y="320"/>
                  <a:pt x="165" y="320"/>
                </a:cubicBezTo>
                <a:cubicBezTo>
                  <a:pt x="251" y="320"/>
                  <a:pt x="320" y="250"/>
                  <a:pt x="320" y="165"/>
                </a:cubicBezTo>
                <a:cubicBezTo>
                  <a:pt x="320" y="80"/>
                  <a:pt x="251" y="11"/>
                  <a:pt x="16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6" name="Freeform 1031">
            <a:extLst>
              <a:ext uri="{FF2B5EF4-FFF2-40B4-BE49-F238E27FC236}">
                <a16:creationId xmlns:a16="http://schemas.microsoft.com/office/drawing/2014/main" id="{6D5795F5-04AA-4208-667B-1147C8974F72}"/>
              </a:ext>
            </a:extLst>
          </p:cNvPr>
          <p:cNvSpPr>
            <a:spLocks/>
          </p:cNvSpPr>
          <p:nvPr/>
        </p:nvSpPr>
        <p:spPr bwMode="auto">
          <a:xfrm>
            <a:off x="10984667" y="1805403"/>
            <a:ext cx="288196" cy="68256"/>
          </a:xfrm>
          <a:custGeom>
            <a:avLst/>
            <a:gdLst>
              <a:gd name="T0" fmla="*/ 115 w 232"/>
              <a:gd name="T1" fmla="*/ 55 h 55"/>
              <a:gd name="T2" fmla="*/ 2 w 232"/>
              <a:gd name="T3" fmla="*/ 11 h 55"/>
              <a:gd name="T4" fmla="*/ 2 w 232"/>
              <a:gd name="T5" fmla="*/ 3 h 55"/>
              <a:gd name="T6" fmla="*/ 10 w 232"/>
              <a:gd name="T7" fmla="*/ 3 h 55"/>
              <a:gd name="T8" fmla="*/ 115 w 232"/>
              <a:gd name="T9" fmla="*/ 45 h 55"/>
              <a:gd name="T10" fmla="*/ 222 w 232"/>
              <a:gd name="T11" fmla="*/ 2 h 55"/>
              <a:gd name="T12" fmla="*/ 230 w 232"/>
              <a:gd name="T13" fmla="*/ 2 h 55"/>
              <a:gd name="T14" fmla="*/ 229 w 232"/>
              <a:gd name="T15" fmla="*/ 10 h 55"/>
              <a:gd name="T16" fmla="*/ 115 w 232"/>
              <a:gd name="T17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2" h="55">
                <a:moveTo>
                  <a:pt x="115" y="55"/>
                </a:moveTo>
                <a:cubicBezTo>
                  <a:pt x="73" y="55"/>
                  <a:pt x="33" y="40"/>
                  <a:pt x="2" y="11"/>
                </a:cubicBezTo>
                <a:cubicBezTo>
                  <a:pt x="0" y="9"/>
                  <a:pt x="0" y="5"/>
                  <a:pt x="2" y="3"/>
                </a:cubicBezTo>
                <a:cubicBezTo>
                  <a:pt x="4" y="1"/>
                  <a:pt x="8" y="1"/>
                  <a:pt x="10" y="3"/>
                </a:cubicBezTo>
                <a:cubicBezTo>
                  <a:pt x="39" y="30"/>
                  <a:pt x="76" y="45"/>
                  <a:pt x="115" y="45"/>
                </a:cubicBezTo>
                <a:cubicBezTo>
                  <a:pt x="155" y="45"/>
                  <a:pt x="193" y="29"/>
                  <a:pt x="222" y="2"/>
                </a:cubicBezTo>
                <a:cubicBezTo>
                  <a:pt x="224" y="0"/>
                  <a:pt x="228" y="0"/>
                  <a:pt x="230" y="2"/>
                </a:cubicBezTo>
                <a:cubicBezTo>
                  <a:pt x="232" y="4"/>
                  <a:pt x="232" y="8"/>
                  <a:pt x="229" y="10"/>
                </a:cubicBezTo>
                <a:cubicBezTo>
                  <a:pt x="199" y="39"/>
                  <a:pt x="158" y="55"/>
                  <a:pt x="115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7" name="Freeform 1032">
            <a:extLst>
              <a:ext uri="{FF2B5EF4-FFF2-40B4-BE49-F238E27FC236}">
                <a16:creationId xmlns:a16="http://schemas.microsoft.com/office/drawing/2014/main" id="{A345ED21-ED0E-4346-3F7C-31DE1278B847}"/>
              </a:ext>
            </a:extLst>
          </p:cNvPr>
          <p:cNvSpPr>
            <a:spLocks/>
          </p:cNvSpPr>
          <p:nvPr/>
        </p:nvSpPr>
        <p:spPr bwMode="auto">
          <a:xfrm>
            <a:off x="10986565" y="2036720"/>
            <a:ext cx="284404" cy="66362"/>
          </a:xfrm>
          <a:custGeom>
            <a:avLst/>
            <a:gdLst>
              <a:gd name="T0" fmla="*/ 6 w 229"/>
              <a:gd name="T1" fmla="*/ 54 h 54"/>
              <a:gd name="T2" fmla="*/ 2 w 229"/>
              <a:gd name="T3" fmla="*/ 53 h 54"/>
              <a:gd name="T4" fmla="*/ 2 w 229"/>
              <a:gd name="T5" fmla="*/ 45 h 54"/>
              <a:gd name="T6" fmla="*/ 114 w 229"/>
              <a:gd name="T7" fmla="*/ 0 h 54"/>
              <a:gd name="T8" fmla="*/ 226 w 229"/>
              <a:gd name="T9" fmla="*/ 44 h 54"/>
              <a:gd name="T10" fmla="*/ 227 w 229"/>
              <a:gd name="T11" fmla="*/ 52 h 54"/>
              <a:gd name="T12" fmla="*/ 219 w 229"/>
              <a:gd name="T13" fmla="*/ 52 h 54"/>
              <a:gd name="T14" fmla="*/ 114 w 229"/>
              <a:gd name="T15" fmla="*/ 11 h 54"/>
              <a:gd name="T16" fmla="*/ 9 w 229"/>
              <a:gd name="T17" fmla="*/ 53 h 54"/>
              <a:gd name="T18" fmla="*/ 6 w 229"/>
              <a:gd name="T19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9" h="54">
                <a:moveTo>
                  <a:pt x="6" y="54"/>
                </a:moveTo>
                <a:cubicBezTo>
                  <a:pt x="4" y="54"/>
                  <a:pt x="3" y="54"/>
                  <a:pt x="2" y="53"/>
                </a:cubicBezTo>
                <a:cubicBezTo>
                  <a:pt x="0" y="50"/>
                  <a:pt x="0" y="47"/>
                  <a:pt x="2" y="45"/>
                </a:cubicBezTo>
                <a:cubicBezTo>
                  <a:pt x="33" y="16"/>
                  <a:pt x="73" y="0"/>
                  <a:pt x="114" y="0"/>
                </a:cubicBezTo>
                <a:cubicBezTo>
                  <a:pt x="156" y="0"/>
                  <a:pt x="196" y="16"/>
                  <a:pt x="226" y="44"/>
                </a:cubicBezTo>
                <a:cubicBezTo>
                  <a:pt x="228" y="46"/>
                  <a:pt x="229" y="49"/>
                  <a:pt x="227" y="52"/>
                </a:cubicBezTo>
                <a:cubicBezTo>
                  <a:pt x="224" y="54"/>
                  <a:pt x="221" y="54"/>
                  <a:pt x="219" y="52"/>
                </a:cubicBezTo>
                <a:cubicBezTo>
                  <a:pt x="190" y="26"/>
                  <a:pt x="153" y="11"/>
                  <a:pt x="114" y="11"/>
                </a:cubicBezTo>
                <a:cubicBezTo>
                  <a:pt x="75" y="11"/>
                  <a:pt x="38" y="26"/>
                  <a:pt x="9" y="53"/>
                </a:cubicBezTo>
                <a:cubicBezTo>
                  <a:pt x="8" y="54"/>
                  <a:pt x="7" y="54"/>
                  <a:pt x="6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8" name="Freeform 1033">
            <a:extLst>
              <a:ext uri="{FF2B5EF4-FFF2-40B4-BE49-F238E27FC236}">
                <a16:creationId xmlns:a16="http://schemas.microsoft.com/office/drawing/2014/main" id="{19DB9C91-207C-99ED-9E02-72010B5AFF83}"/>
              </a:ext>
            </a:extLst>
          </p:cNvPr>
          <p:cNvSpPr>
            <a:spLocks noEditPoints="1"/>
          </p:cNvSpPr>
          <p:nvPr/>
        </p:nvSpPr>
        <p:spPr bwMode="auto">
          <a:xfrm>
            <a:off x="11016902" y="1750417"/>
            <a:ext cx="221835" cy="411437"/>
          </a:xfrm>
          <a:custGeom>
            <a:avLst/>
            <a:gdLst>
              <a:gd name="T0" fmla="*/ 89 w 179"/>
              <a:gd name="T1" fmla="*/ 331 h 331"/>
              <a:gd name="T2" fmla="*/ 0 w 179"/>
              <a:gd name="T3" fmla="*/ 165 h 331"/>
              <a:gd name="T4" fmla="*/ 89 w 179"/>
              <a:gd name="T5" fmla="*/ 0 h 331"/>
              <a:gd name="T6" fmla="*/ 179 w 179"/>
              <a:gd name="T7" fmla="*/ 165 h 331"/>
              <a:gd name="T8" fmla="*/ 89 w 179"/>
              <a:gd name="T9" fmla="*/ 331 h 331"/>
              <a:gd name="T10" fmla="*/ 89 w 179"/>
              <a:gd name="T11" fmla="*/ 11 h 331"/>
              <a:gd name="T12" fmla="*/ 11 w 179"/>
              <a:gd name="T13" fmla="*/ 165 h 331"/>
              <a:gd name="T14" fmla="*/ 89 w 179"/>
              <a:gd name="T15" fmla="*/ 320 h 331"/>
              <a:gd name="T16" fmla="*/ 168 w 179"/>
              <a:gd name="T17" fmla="*/ 165 h 331"/>
              <a:gd name="T18" fmla="*/ 89 w 179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9" h="331">
                <a:moveTo>
                  <a:pt x="89" y="331"/>
                </a:moveTo>
                <a:cubicBezTo>
                  <a:pt x="39" y="331"/>
                  <a:pt x="0" y="258"/>
                  <a:pt x="0" y="165"/>
                </a:cubicBezTo>
                <a:cubicBezTo>
                  <a:pt x="0" y="73"/>
                  <a:pt x="39" y="0"/>
                  <a:pt x="89" y="0"/>
                </a:cubicBezTo>
                <a:cubicBezTo>
                  <a:pt x="140" y="0"/>
                  <a:pt x="179" y="73"/>
                  <a:pt x="179" y="165"/>
                </a:cubicBezTo>
                <a:cubicBezTo>
                  <a:pt x="179" y="258"/>
                  <a:pt x="140" y="331"/>
                  <a:pt x="89" y="331"/>
                </a:cubicBezTo>
                <a:close/>
                <a:moveTo>
                  <a:pt x="89" y="11"/>
                </a:moveTo>
                <a:cubicBezTo>
                  <a:pt x="46" y="11"/>
                  <a:pt x="11" y="80"/>
                  <a:pt x="11" y="165"/>
                </a:cubicBezTo>
                <a:cubicBezTo>
                  <a:pt x="11" y="250"/>
                  <a:pt x="46" y="320"/>
                  <a:pt x="89" y="320"/>
                </a:cubicBezTo>
                <a:cubicBezTo>
                  <a:pt x="133" y="320"/>
                  <a:pt x="168" y="250"/>
                  <a:pt x="168" y="165"/>
                </a:cubicBezTo>
                <a:cubicBezTo>
                  <a:pt x="168" y="80"/>
                  <a:pt x="133" y="11"/>
                  <a:pt x="89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9" name="Freeform 1034">
            <a:extLst>
              <a:ext uri="{FF2B5EF4-FFF2-40B4-BE49-F238E27FC236}">
                <a16:creationId xmlns:a16="http://schemas.microsoft.com/office/drawing/2014/main" id="{BD0D7843-98EE-9093-66E1-ED72CF8CF18C}"/>
              </a:ext>
            </a:extLst>
          </p:cNvPr>
          <p:cNvSpPr>
            <a:spLocks/>
          </p:cNvSpPr>
          <p:nvPr/>
        </p:nvSpPr>
        <p:spPr bwMode="auto">
          <a:xfrm>
            <a:off x="10922098" y="1949501"/>
            <a:ext cx="411438" cy="13274"/>
          </a:xfrm>
          <a:custGeom>
            <a:avLst/>
            <a:gdLst>
              <a:gd name="T0" fmla="*/ 325 w 331"/>
              <a:gd name="T1" fmla="*/ 11 h 11"/>
              <a:gd name="T2" fmla="*/ 6 w 331"/>
              <a:gd name="T3" fmla="*/ 11 h 11"/>
              <a:gd name="T4" fmla="*/ 0 w 331"/>
              <a:gd name="T5" fmla="*/ 5 h 11"/>
              <a:gd name="T6" fmla="*/ 6 w 331"/>
              <a:gd name="T7" fmla="*/ 0 h 11"/>
              <a:gd name="T8" fmla="*/ 325 w 331"/>
              <a:gd name="T9" fmla="*/ 0 h 11"/>
              <a:gd name="T10" fmla="*/ 331 w 331"/>
              <a:gd name="T11" fmla="*/ 5 h 11"/>
              <a:gd name="T12" fmla="*/ 325 w 331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" h="11">
                <a:moveTo>
                  <a:pt x="325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325" y="0"/>
                  <a:pt x="325" y="0"/>
                  <a:pt x="325" y="0"/>
                </a:cubicBezTo>
                <a:cubicBezTo>
                  <a:pt x="328" y="0"/>
                  <a:pt x="331" y="2"/>
                  <a:pt x="331" y="5"/>
                </a:cubicBezTo>
                <a:cubicBezTo>
                  <a:pt x="331" y="9"/>
                  <a:pt x="328" y="11"/>
                  <a:pt x="32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70" name="Freeform 1035">
            <a:extLst>
              <a:ext uri="{FF2B5EF4-FFF2-40B4-BE49-F238E27FC236}">
                <a16:creationId xmlns:a16="http://schemas.microsoft.com/office/drawing/2014/main" id="{0A5F168C-73E0-8798-3701-141DEF15A76C}"/>
              </a:ext>
            </a:extLst>
          </p:cNvPr>
          <p:cNvSpPr>
            <a:spLocks/>
          </p:cNvSpPr>
          <p:nvPr/>
        </p:nvSpPr>
        <p:spPr bwMode="auto">
          <a:xfrm>
            <a:off x="11121182" y="1750417"/>
            <a:ext cx="13274" cy="411437"/>
          </a:xfrm>
          <a:custGeom>
            <a:avLst/>
            <a:gdLst>
              <a:gd name="T0" fmla="*/ 5 w 11"/>
              <a:gd name="T1" fmla="*/ 331 h 331"/>
              <a:gd name="T2" fmla="*/ 0 w 11"/>
              <a:gd name="T3" fmla="*/ 325 h 331"/>
              <a:gd name="T4" fmla="*/ 0 w 11"/>
              <a:gd name="T5" fmla="*/ 6 h 331"/>
              <a:gd name="T6" fmla="*/ 5 w 11"/>
              <a:gd name="T7" fmla="*/ 0 h 331"/>
              <a:gd name="T8" fmla="*/ 11 w 11"/>
              <a:gd name="T9" fmla="*/ 6 h 331"/>
              <a:gd name="T10" fmla="*/ 11 w 11"/>
              <a:gd name="T11" fmla="*/ 325 h 331"/>
              <a:gd name="T12" fmla="*/ 5 w 11"/>
              <a:gd name="T13" fmla="*/ 33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31">
                <a:moveTo>
                  <a:pt x="5" y="331"/>
                </a:moveTo>
                <a:cubicBezTo>
                  <a:pt x="2" y="331"/>
                  <a:pt x="0" y="328"/>
                  <a:pt x="0" y="3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9" y="0"/>
                  <a:pt x="11" y="3"/>
                  <a:pt x="11" y="6"/>
                </a:cubicBezTo>
                <a:cubicBezTo>
                  <a:pt x="11" y="325"/>
                  <a:pt x="11" y="325"/>
                  <a:pt x="11" y="325"/>
                </a:cubicBezTo>
                <a:cubicBezTo>
                  <a:pt x="11" y="328"/>
                  <a:pt x="9" y="331"/>
                  <a:pt x="5" y="3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836419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2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7</cp:revision>
  <dcterms:created xsi:type="dcterms:W3CDTF">2021-03-31T02:49:57Z</dcterms:created>
  <dcterms:modified xsi:type="dcterms:W3CDTF">2025-10-16T10:52:04Z</dcterms:modified>
  <cp:category/>
</cp:coreProperties>
</file>